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1"/>
  </p:sldMasterIdLst>
  <p:notesMasterIdLst>
    <p:notesMasterId r:id="rId3"/>
  </p:notesMasterIdLst>
  <p:sldIdLst>
    <p:sldId id="413" r:id="rId2"/>
  </p:sldIdLst>
  <p:sldSz cx="12192000" cy="6858000"/>
  <p:notesSz cx="69977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2F2F2"/>
    <a:srgbClr val="E41E2A"/>
    <a:srgbClr val="686868"/>
    <a:srgbClr val="7F7F7F"/>
    <a:srgbClr val="F5EFEF"/>
    <a:srgbClr val="BBB9C0"/>
    <a:srgbClr val="D3CBC8"/>
    <a:srgbClr val="A7A7A7"/>
    <a:srgbClr val="0086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3088" autoAdjust="0"/>
  </p:normalViewPr>
  <p:slideViewPr>
    <p:cSldViewPr snapToGrid="0">
      <p:cViewPr varScale="1">
        <p:scale>
          <a:sx n="67" d="100"/>
          <a:sy n="67" d="100"/>
        </p:scale>
        <p:origin x="168" y="78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4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8ECD6AFA-545B-413B-AF13-1E939FD12885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0FFD521-80CD-4BCC-BC10-60F8927A29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953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1"/>
          <p:cNvSpPr>
            <a:spLocks noGrp="1"/>
          </p:cNvSpPr>
          <p:nvPr>
            <p:ph type="title"/>
          </p:nvPr>
        </p:nvSpPr>
        <p:spPr>
          <a:xfrm>
            <a:off x="2045648" y="228600"/>
            <a:ext cx="10146369" cy="36625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FFFFFF"/>
                </a:solidFill>
              </a:rPr>
              <a:pPr defTabSz="913044"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010400" y="6583225"/>
            <a:ext cx="9906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FFFFFF"/>
                </a:solidFill>
                <a:cs typeface="Arial"/>
              </a:rPr>
              <a:t>Classified - Internal us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2076766" y="5096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6579491"/>
            <a:ext cx="512064" cy="120347"/>
          </a:xfrm>
          <a:prstGeom prst="rect">
            <a:avLst/>
          </a:prstGeom>
        </p:spPr>
      </p:pic>
      <p:sp>
        <p:nvSpPr>
          <p:cNvPr id="15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041727" y="6583225"/>
            <a:ext cx="237404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FFFFFF"/>
                </a:solidFill>
              </a:rPr>
              <a:t>Collaborative Business Planning– North America Group</a:t>
            </a:r>
            <a:br>
              <a:rPr lang="en-US" sz="800" dirty="0">
                <a:solidFill>
                  <a:srgbClr val="FFFFFF"/>
                </a:solidFill>
              </a:rPr>
            </a:b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7682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8306"/>
            <a:ext cx="10972800" cy="366254"/>
          </a:xfr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47200" y="6356507"/>
            <a:ext cx="2844800" cy="365125"/>
          </a:xfrm>
          <a:prstGeom prst="rect">
            <a:avLst/>
          </a:prstGeom>
        </p:spPr>
        <p:txBody>
          <a:bodyPr/>
          <a:lstStyle/>
          <a:p>
            <a:fld id="{256F68F8-5C91-E448-B692-6FE37924FFB6}" type="slidenum">
              <a:rPr lang="en-US">
                <a:solidFill>
                  <a:srgbClr val="0020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2060">
                  <a:tint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9600" y="806488"/>
            <a:ext cx="10972800" cy="0"/>
          </a:xfrm>
          <a:prstGeom prst="line">
            <a:avLst/>
          </a:prstGeom>
          <a:ln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54085" y="6449450"/>
            <a:ext cx="5021979" cy="428625"/>
          </a:xfrm>
        </p:spPr>
        <p:txBody>
          <a:bodyPr anchor="b" anchorCtr="0">
            <a:noAutofit/>
          </a:bodyPr>
          <a:lstStyle>
            <a:lvl1pPr>
              <a:lnSpc>
                <a:spcPct val="70000"/>
              </a:lnSpc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dd Source Info Here</a:t>
            </a:r>
          </a:p>
        </p:txBody>
      </p:sp>
    </p:spTree>
    <p:extLst>
      <p:ext uri="{BB962C8B-B14F-4D97-AF65-F5344CB8AC3E}">
        <p14:creationId xmlns:p14="http://schemas.microsoft.com/office/powerpoint/2010/main" val="2662533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08000" y="914407"/>
            <a:ext cx="1107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9DA8D4ED-9779-4004-93CD-639DA3987C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62403"/>
            <a:ext cx="2743200" cy="365125"/>
          </a:xfrm>
          <a:prstGeom prst="rect">
            <a:avLst/>
          </a:prstGeom>
        </p:spPr>
        <p:txBody>
          <a:bodyPr/>
          <a:lstStyle/>
          <a:p>
            <a:fld id="{3F6FE59B-7E15-4240-AF67-16ADDD273452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A7C09396-5AC4-4040-B185-D83AA1272A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6240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51340D5-E431-4245-9278-F9D3F61B2BFB}"/>
              </a:ext>
            </a:extLst>
          </p:cNvPr>
          <p:cNvSpPr/>
          <p:nvPr userDrawn="1"/>
        </p:nvSpPr>
        <p:spPr>
          <a:xfrm>
            <a:off x="-11168" y="6324600"/>
            <a:ext cx="12203168" cy="539453"/>
          </a:xfrm>
          <a:prstGeom prst="rect">
            <a:avLst/>
          </a:prstGeom>
          <a:solidFill>
            <a:srgbClr val="E51E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8" rIns="91429" bIns="45718" rtlCol="0" anchor="ctr"/>
          <a:lstStyle/>
          <a:p>
            <a:pPr algn="ctr" defTabSz="1462861"/>
            <a:endParaRPr lang="en-US" sz="2900" dirty="0">
              <a:solidFill>
                <a:srgbClr val="FFFFFF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92390AB-FF1F-4103-B17F-25975F99DC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494" y="6411445"/>
            <a:ext cx="1777114" cy="403861"/>
          </a:xfrm>
          <a:prstGeom prst="rect">
            <a:avLst/>
          </a:prstGeom>
        </p:spPr>
      </p:pic>
      <p:sp>
        <p:nvSpPr>
          <p:cNvPr id="20" name="TPandFilters">
            <a:extLst>
              <a:ext uri="{FF2B5EF4-FFF2-40B4-BE49-F238E27FC236}">
                <a16:creationId xmlns:a16="http://schemas.microsoft.com/office/drawing/2014/main" id="{16D3556F-C193-4E2C-91F6-08CCB39BEC66}"/>
              </a:ext>
            </a:extLst>
          </p:cNvPr>
          <p:cNvSpPr txBox="1">
            <a:spLocks/>
          </p:cNvSpPr>
          <p:nvPr userDrawn="1"/>
        </p:nvSpPr>
        <p:spPr>
          <a:xfrm>
            <a:off x="685799" y="6337663"/>
            <a:ext cx="5950131" cy="35052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ource: </a:t>
            </a:r>
            <a:r>
              <a:rPr lang="en-US" sz="800" dirty="0" err="1">
                <a:latin typeface="Century Gothic" panose="020B0502020202020204" pitchFamily="34" charset="0"/>
              </a:rPr>
              <a:t>iSHOP</a:t>
            </a:r>
            <a:r>
              <a:rPr lang="en-US" sz="800" dirty="0">
                <a:latin typeface="Century Gothic" panose="020B0502020202020204" pitchFamily="34" charset="0"/>
              </a:rPr>
              <a:t>, 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Time Period : JUN 2018 12MMT ; </a:t>
            </a:r>
            <a:r>
              <a:rPr lang="en-IN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Base</a:t>
            </a:r>
            <a:r>
              <a:rPr lang="en-US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cs typeface="Arial" pitchFamily="34" charset="0"/>
              </a:rPr>
              <a:t> : Monthly+ Grocery Shoppers, Supermarket Visits,</a:t>
            </a:r>
          </a:p>
          <a:p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Filters: 25-34, 35-49, 50-64</a:t>
            </a:r>
            <a:endParaRPr lang="en-US" sz="800" b="0" kern="1200" dirty="0">
              <a:solidFill>
                <a:prstClr val="white"/>
              </a:solidFill>
              <a:latin typeface="Franklin Gothic Book" panose="020B0503020102020204" pitchFamily="34" charset="0"/>
              <a:cs typeface="Arial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10B76FE-D623-4220-B2C7-E834C649C18A}"/>
              </a:ext>
            </a:extLst>
          </p:cNvPr>
          <p:cNvSpPr txBox="1">
            <a:spLocks/>
          </p:cNvSpPr>
          <p:nvPr userDrawn="1"/>
        </p:nvSpPr>
        <p:spPr>
          <a:xfrm>
            <a:off x="672737" y="6605452"/>
            <a:ext cx="6812280" cy="30480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ample size</a:t>
            </a:r>
            <a:r>
              <a:rPr lang="en-US" sz="800" baseline="0" dirty="0">
                <a:latin typeface="Century Gothic" panose="020B0502020202020204" pitchFamily="34" charset="0"/>
              </a:rPr>
              <a:t> in the table to the top right;  Grey font = Low Sample (30-99), Blank = Sample &lt; 30, </a:t>
            </a:r>
            <a:r>
              <a:rPr lang="en-US" sz="800" baseline="0" dirty="0">
                <a:effectLst/>
                <a:latin typeface="Century Gothic" panose="020B0502020202020204" pitchFamily="34" charset="0"/>
              </a:rPr>
              <a:t>NA = Not Applicable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D3CE62F-8346-423C-B50C-8F12DA23920D}"/>
              </a:ext>
            </a:extLst>
          </p:cNvPr>
          <p:cNvSpPr txBox="1">
            <a:spLocks/>
          </p:cNvSpPr>
          <p:nvPr userDrawn="1"/>
        </p:nvSpPr>
        <p:spPr>
          <a:xfrm>
            <a:off x="7555428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High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3180EBD1-F5EE-4A3B-949D-CF1DA435654E}"/>
              </a:ext>
            </a:extLst>
          </p:cNvPr>
          <p:cNvSpPr txBox="1">
            <a:spLocks/>
          </p:cNvSpPr>
          <p:nvPr userDrawn="1"/>
        </p:nvSpPr>
        <p:spPr>
          <a:xfrm>
            <a:off x="8728247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Lower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18315FC-5C4B-45A2-BC0B-2D731444C46C}"/>
              </a:ext>
            </a:extLst>
          </p:cNvPr>
          <p:cNvSpPr/>
          <p:nvPr userDrawn="1"/>
        </p:nvSpPr>
        <p:spPr>
          <a:xfrm>
            <a:off x="7464152" y="6585657"/>
            <a:ext cx="137160" cy="13716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28107B0-5B12-4FED-9FA9-1BFA692C1AB5}"/>
              </a:ext>
            </a:extLst>
          </p:cNvPr>
          <p:cNvSpPr/>
          <p:nvPr userDrawn="1"/>
        </p:nvSpPr>
        <p:spPr>
          <a:xfrm>
            <a:off x="8636807" y="6585657"/>
            <a:ext cx="137160" cy="137160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ED5B1FA8-6A36-46E0-9A8E-AFBA3E542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72377"/>
            <a:ext cx="623392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F825B6-5D56-4C6B-9BBC-B1361DD2850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7" name="Picture 2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C3EE8D52-2112-4D1E-B13F-44BDF87D02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0" y="6327123"/>
            <a:ext cx="594881" cy="517546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688B247-16AB-439A-983F-0A05F6255244}"/>
              </a:ext>
            </a:extLst>
          </p:cNvPr>
          <p:cNvCxnSpPr/>
          <p:nvPr userDrawn="1"/>
        </p:nvCxnSpPr>
        <p:spPr>
          <a:xfrm flipH="1">
            <a:off x="685800" y="6357058"/>
            <a:ext cx="0" cy="452195"/>
          </a:xfrm>
          <a:prstGeom prst="line">
            <a:avLst/>
          </a:prstGeom>
          <a:noFill/>
          <a:ln w="6350" cap="flat" cmpd="sng" algn="ctr">
            <a:solidFill>
              <a:srgbClr val="FFFFFF">
                <a:alpha val="43137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931469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366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400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245600" y="636756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02A5ED-1FEA-4F40-B96F-E2ABA26D432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685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499000"/>
            <a:ext cx="11586633" cy="418576"/>
          </a:xfrm>
        </p:spPr>
        <p:txBody>
          <a:bodyPr anchor="b"/>
          <a:lstStyle>
            <a:lvl1pPr>
              <a:defRPr sz="32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4803" y="6577205"/>
            <a:ext cx="11642316" cy="169277"/>
          </a:xfrm>
        </p:spPr>
        <p:txBody>
          <a:bodyPr anchor="b"/>
          <a:lstStyle>
            <a:lvl1pPr marL="0" indent="0" algn="r">
              <a:buNone/>
              <a:defRPr sz="1100" baseline="0">
                <a:solidFill>
                  <a:schemeClr val="bg2">
                    <a:lumMod val="60000"/>
                    <a:lumOff val="4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336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99128"/>
            <a:ext cx="10363200" cy="30777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3B949F3D-92C3-4D1B-8818-003BE30A9C72}" type="datetimeFigureOut">
              <a:rPr lang="en-US">
                <a:solidFill>
                  <a:srgbClr val="000000"/>
                </a:solidFill>
              </a:rPr>
              <a:pPr/>
              <a:t>10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93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0E4838EE-3B9A-4638-9588-7052AD437DB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318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Blan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nner_gra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5" y="150443"/>
            <a:ext cx="11780137" cy="136487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23111" y="512117"/>
            <a:ext cx="10363200" cy="366254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77" y="6389200"/>
            <a:ext cx="823323" cy="453750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chemeClr val="accent6">
                    <a:alpha val="50000"/>
                  </a:schemeClr>
                </a:solidFill>
              </a:defRPr>
            </a:lvl1pPr>
          </a:lstStyle>
          <a:p>
            <a:fld id="{60121F6C-536B-2F4E-9E66-2923FD07E3C5}" type="slidenum">
              <a:rPr lang="en-US">
                <a:solidFill>
                  <a:srgbClr val="5F6F74">
                    <a:alpha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F6F74">
                  <a:alpha val="50000"/>
                </a:srgbClr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322917" y="1477964"/>
            <a:ext cx="10107083" cy="2421176"/>
          </a:xfrm>
          <a:prstGeom prst="rect">
            <a:avLst/>
          </a:prstGeom>
        </p:spPr>
        <p:txBody>
          <a:bodyPr vert="horz"/>
          <a:lstStyle>
            <a:lvl1pPr marL="287338" indent="-287338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 sz="2400">
                <a:solidFill>
                  <a:srgbClr val="5F5F5F"/>
                </a:solidFill>
              </a:defRPr>
            </a:lvl1pPr>
            <a:lvl2pPr marL="576263" indent="-288925">
              <a:spcBef>
                <a:spcPts val="300"/>
              </a:spcBef>
              <a:buClr>
                <a:srgbClr val="C00000"/>
              </a:buClr>
              <a:buFont typeface="Courier New" pitchFamily="49" charset="0"/>
              <a:buChar char="-"/>
              <a:defRPr sz="2000">
                <a:solidFill>
                  <a:srgbClr val="5F5F5F"/>
                </a:solidFill>
              </a:defRPr>
            </a:lvl2pPr>
            <a:lvl3pPr marL="804863" indent="-228600">
              <a:spcBef>
                <a:spcPts val="300"/>
              </a:spcBef>
              <a:buFont typeface="Arial" pitchFamily="34" charset="0"/>
              <a:buChar char="•"/>
              <a:defRPr sz="1800">
                <a:solidFill>
                  <a:srgbClr val="5F5F5F"/>
                </a:solidFill>
              </a:defRPr>
            </a:lvl3pPr>
            <a:lvl4pPr marL="1033463" indent="-228600">
              <a:spcBef>
                <a:spcPts val="300"/>
              </a:spcBef>
              <a:buFont typeface="Lucida Grande"/>
              <a:buChar char="-"/>
              <a:defRPr sz="1600">
                <a:solidFill>
                  <a:srgbClr val="5F5F5F"/>
                </a:solidFill>
              </a:defRPr>
            </a:lvl4pPr>
            <a:lvl5pPr marL="1262063" indent="-228600">
              <a:spcBef>
                <a:spcPts val="300"/>
              </a:spcBef>
              <a:defRPr sz="1600">
                <a:solidFill>
                  <a:srgbClr val="5F5F5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07511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571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146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42973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367723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1619" y="1981465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Last Modified 2/25/2013 9:31 PM Central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30941" y="4199435"/>
            <a:ext cx="17328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 1/28/2013 3:31 PM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475540" y="1439512"/>
            <a:ext cx="11488837" cy="220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536" y="206302"/>
            <a:ext cx="11492299" cy="36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7" y="27536"/>
            <a:ext cx="7181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044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2059" y="54322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gray">
          <a:xfrm>
            <a:off x="1976224" y="1340118"/>
            <a:ext cx="5801189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044"/>
              <a:r>
                <a:rPr lang="en-US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044"/>
              <a:r>
                <a:rPr lang="en-US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>
            <a:grpSpLocks/>
          </p:cNvGrpSpPr>
          <p:nvPr/>
        </p:nvGrpSpPr>
        <p:grpSpPr bwMode="gray">
          <a:xfrm>
            <a:off x="162015" y="6014694"/>
            <a:ext cx="11729804" cy="362823"/>
            <a:chOff x="75" y="3926"/>
            <a:chExt cx="5385" cy="224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gray">
            <a:xfrm>
              <a:off x="75" y="3926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gray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8557" indent="-618557" defTabSz="908501">
                <a:tabLst>
                  <a:tab pos="621776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" name="LegendBoxes" hidden="1"/>
          <p:cNvGrpSpPr>
            <a:grpSpLocks/>
          </p:cNvGrpSpPr>
          <p:nvPr/>
        </p:nvGrpSpPr>
        <p:grpSpPr bwMode="gray">
          <a:xfrm>
            <a:off x="10860005" y="279466"/>
            <a:ext cx="829359" cy="1013961"/>
            <a:chOff x="4936" y="176"/>
            <a:chExt cx="384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LegendLines" hidden="1"/>
          <p:cNvGrpSpPr>
            <a:grpSpLocks/>
          </p:cNvGrpSpPr>
          <p:nvPr/>
        </p:nvGrpSpPr>
        <p:grpSpPr bwMode="gray">
          <a:xfrm>
            <a:off x="10441073" y="285077"/>
            <a:ext cx="1248359" cy="741844"/>
            <a:chOff x="4750" y="176"/>
            <a:chExt cx="578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" name="McKSticker" hidden="1"/>
          <p:cNvGrpSpPr/>
          <p:nvPr/>
        </p:nvGrpSpPr>
        <p:grpSpPr bwMode="gray">
          <a:xfrm>
            <a:off x="10937516" y="291555"/>
            <a:ext cx="955839" cy="212366"/>
            <a:chOff x="8038209" y="285750"/>
            <a:chExt cx="702566" cy="208137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gray">
            <a:xfrm>
              <a:off x="8038209" y="285750"/>
              <a:ext cx="702566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gray">
            <a:xfrm>
              <a:off x="8038209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gray">
            <a:xfrm>
              <a:off x="8038209" y="493887"/>
              <a:ext cx="70256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" name="LegendMoons" hidden="1"/>
          <p:cNvGrpSpPr/>
          <p:nvPr/>
        </p:nvGrpSpPr>
        <p:grpSpPr bwMode="gray">
          <a:xfrm>
            <a:off x="10769294" y="279402"/>
            <a:ext cx="920385" cy="1333054"/>
            <a:chOff x="6655594" y="273840"/>
            <a:chExt cx="676508" cy="1306516"/>
          </a:xfrm>
        </p:grpSpPr>
        <p:grpSp>
          <p:nvGrpSpPr>
            <p:cNvPr id="9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6976270" y="28654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60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</p:sldLayoutIdLst>
  <p:transition>
    <p:fade/>
  </p:transition>
  <p:hf hdr="0" dt="0"/>
  <p:txStyles>
    <p:titleStyle>
      <a:lvl1pPr algn="l" defTabSz="908501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273839" algn="l"/>
        </a:tabLst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88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3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749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665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defRPr sz="18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6521" indent="-194912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63881" indent="-2657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23389" indent="-157866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60824" indent="-1320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88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3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74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66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584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49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418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33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304789" y="3708"/>
            <a:ext cx="96774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363200" y="6583205"/>
            <a:ext cx="35266" cy="123111"/>
          </a:xfrm>
          <a:prstGeom prst="rect">
            <a:avLst/>
          </a:prstGeom>
        </p:spPr>
        <p:txBody>
          <a:bodyPr/>
          <a:lstStyle/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761992" y="144362"/>
            <a:ext cx="806196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Club Foods</a:t>
            </a:r>
          </a:p>
        </p:txBody>
      </p:sp>
      <p:sp>
        <p:nvSpPr>
          <p:cNvPr id="8" name="Slide Number Placeholder 1"/>
          <p:cNvSpPr txBox="1">
            <a:spLocks/>
          </p:cNvSpPr>
          <p:nvPr/>
        </p:nvSpPr>
        <p:spPr bwMode="gray">
          <a:xfrm>
            <a:off x="10363200" y="6583205"/>
            <a:ext cx="3526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04789" y="747706"/>
            <a:ext cx="11505075" cy="5261610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1720371"/>
              </p:ext>
            </p:extLst>
          </p:nvPr>
        </p:nvGraphicFramePr>
        <p:xfrm>
          <a:off x="413105" y="768551"/>
          <a:ext cx="11380431" cy="5208604"/>
        </p:xfrm>
        <a:graphic>
          <a:graphicData uri="http://schemas.openxmlformats.org/drawingml/2006/table">
            <a:tbl>
              <a:tblPr/>
              <a:tblGrid>
                <a:gridCol w="385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539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603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603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603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60308">
                  <a:extLst>
                    <a:ext uri="{9D8B030D-6E8A-4147-A177-3AD203B41FA5}">
                      <a16:colId xmlns:a16="http://schemas.microsoft.com/office/drawing/2014/main" val="3387199848"/>
                    </a:ext>
                  </a:extLst>
                </a:gridCol>
              </a:tblGrid>
              <a:tr h="212124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lub Food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8414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ffluen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2731">
                <a:tc rowSpan="5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STAT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Monthly+ Shopper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2731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Trip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273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Dollar Spend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4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2731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Share of Total NARTD Bev Trips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2731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NARTD Beverage Trip Conversion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1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0770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2731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OR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Largest Trip Mission (% of Group’s Trips)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2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1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2731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nique Trip Mission (% of Group’s Trips)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eed It Now (9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o Skew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ock Up (1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36826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ions for Visit [1]</a:t>
                      </a:r>
                    </a:p>
                    <a:p>
                      <a:pPr marL="169863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*show high-skew motivation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Beverage to Drink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Meal/Snack to Eat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Time Browse For Interesting Item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Fuel For Car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se Pharmacy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Advantage of Good Coupon Polic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igh-quality Product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4285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028621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OFIL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Monthly+ Demographic &amp; Behavioral Skews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 19-34, 25-34, 3, 4, 5+ people in the HH, AA, Hispanic, Rural, Social Shoppers, Errand Runn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ender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: 65-75, 25-34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ace/Ethnicity: Np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H Size: 2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ensity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leasure Shopp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ender: No skew, Age: 35-49, 50-64, 65-75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ace/Ethnicity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White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H Size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2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ensity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Suburban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egment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Brand Buyers, Pleasure Shoppers 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6949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2731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Imagery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TE/Heat Food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273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arbonated Soft Drink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0303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ill Non-Alcoholic Beverage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11" name="TextBox 22"/>
          <p:cNvSpPr txBox="1"/>
          <p:nvPr/>
        </p:nvSpPr>
        <p:spPr>
          <a:xfrm>
            <a:off x="7554608" y="6074037"/>
            <a:ext cx="44700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ea typeface="ＭＳ Ｐゴシック" charset="0"/>
                <a:cs typeface="ＭＳ Ｐゴシック" charset="0"/>
              </a:rPr>
              <a:t>[1] Stat Test vs Total Trips to Urban-Club Foods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2623236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2_USE THIS">
  <a:themeElements>
    <a:clrScheme name="Custom 1">
      <a:dk1>
        <a:srgbClr val="000000"/>
      </a:dk1>
      <a:lt1>
        <a:srgbClr val="FFFFFF"/>
      </a:lt1>
      <a:dk2>
        <a:srgbClr val="CC0000"/>
      </a:dk2>
      <a:lt2>
        <a:srgbClr val="FFFFFF"/>
      </a:lt2>
      <a:accent1>
        <a:srgbClr val="DDDDDD"/>
      </a:accent1>
      <a:accent2>
        <a:srgbClr val="808080"/>
      </a:accent2>
      <a:accent3>
        <a:srgbClr val="CC3300"/>
      </a:accent3>
      <a:accent4>
        <a:srgbClr val="CC0000"/>
      </a:accent4>
      <a:accent5>
        <a:srgbClr val="FF6600"/>
      </a:accent5>
      <a:accent6>
        <a:srgbClr val="808080"/>
      </a:accent6>
      <a:hlink>
        <a:srgbClr val="CC3300"/>
      </a:hlink>
      <a:folHlink>
        <a:srgbClr val="CC0000"/>
      </a:folHlink>
    </a:clrScheme>
    <a:fontScheme name="Custom 2">
      <a:majorFont>
        <a:latin typeface="Candara"/>
        <a:ea typeface="ＭＳ Ｐゴシック"/>
        <a:cs typeface=""/>
      </a:majorFont>
      <a:minorFont>
        <a:latin typeface="Candar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C0000"/>
        </a:dk2>
        <a:lt2>
          <a:srgbClr val="FFFFFF"/>
        </a:lt2>
        <a:accent1>
          <a:srgbClr val="DDDDDD"/>
        </a:accent1>
        <a:accent2>
          <a:srgbClr val="808080"/>
        </a:accent2>
        <a:accent3>
          <a:srgbClr val="CC330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114</TotalTime>
  <Words>310</Words>
  <Application>Microsoft Office PowerPoint</Application>
  <PresentationFormat>Widescreen</PresentationFormat>
  <Paragraphs>7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ＭＳ Ｐゴシック</vt:lpstr>
      <vt:lpstr>Arial</vt:lpstr>
      <vt:lpstr>Calibri</vt:lpstr>
      <vt:lpstr>Candara</vt:lpstr>
      <vt:lpstr>Century Gothic</vt:lpstr>
      <vt:lpstr>Courier New</vt:lpstr>
      <vt:lpstr>Franklin Gothic Book</vt:lpstr>
      <vt:lpstr>Lucida Grande</vt:lpstr>
      <vt:lpstr>Segoe UI</vt:lpstr>
      <vt:lpstr>Wingdings</vt:lpstr>
      <vt:lpstr>12_USE THIS</vt:lpstr>
      <vt:lpstr>think-cell Slide</vt:lpstr>
      <vt:lpstr>PowerPoint Presentation</vt:lpstr>
    </vt:vector>
  </TitlesOfParts>
  <Company>Coca-C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Rajewski</dc:creator>
  <cp:lastModifiedBy>Nagaraju Duddela</cp:lastModifiedBy>
  <cp:revision>424</cp:revision>
  <cp:lastPrinted>2015-12-04T15:56:47Z</cp:lastPrinted>
  <dcterms:created xsi:type="dcterms:W3CDTF">2014-05-21T13:43:49Z</dcterms:created>
  <dcterms:modified xsi:type="dcterms:W3CDTF">2018-10-22T09:5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ATIntVersion">
    <vt:i4>15</vt:i4>
  </property>
  <property fmtid="{D5CDD505-2E9C-101B-9397-08002B2CF9AE}" pid="3" name="FILEGUID">
    <vt:lpwstr>53e986c9-1f02-4f83-b94f-6892fe8c78ce</vt:lpwstr>
  </property>
  <property fmtid="{D5CDD505-2E9C-101B-9397-08002B2CF9AE}" pid="4" name="MODFILEGUID">
    <vt:lpwstr>7ce0bd96-47d2-4213-9be5-8ca796d8f2aa</vt:lpwstr>
  </property>
  <property fmtid="{D5CDD505-2E9C-101B-9397-08002B2CF9AE}" pid="5" name="FILEOWNER">
    <vt:lpwstr>T32273</vt:lpwstr>
  </property>
  <property fmtid="{D5CDD505-2E9C-101B-9397-08002B2CF9AE}" pid="6" name="MODFILEOWNER">
    <vt:lpwstr>A64841</vt:lpwstr>
  </property>
  <property fmtid="{D5CDD505-2E9C-101B-9397-08002B2CF9AE}" pid="7" name="IPPCLASS">
    <vt:i4>1</vt:i4>
  </property>
  <property fmtid="{D5CDD505-2E9C-101B-9397-08002B2CF9AE}" pid="8" name="MODIPPCLASS">
    <vt:i4>1</vt:i4>
  </property>
  <property fmtid="{D5CDD505-2E9C-101B-9397-08002B2CF9AE}" pid="9" name="MACHINEID">
    <vt:lpwstr>WPEL260391</vt:lpwstr>
  </property>
  <property fmtid="{D5CDD505-2E9C-101B-9397-08002B2CF9AE}" pid="10" name="MODMACHINEID">
    <vt:lpwstr>O46130-0608</vt:lpwstr>
  </property>
  <property fmtid="{D5CDD505-2E9C-101B-9397-08002B2CF9AE}" pid="11" name="CURRENTCLASS">
    <vt:lpwstr>Classified - No Category</vt:lpwstr>
  </property>
</Properties>
</file>